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64" r:id="rId4"/>
    <p:sldId id="266" r:id="rId5"/>
    <p:sldId id="283" r:id="rId6"/>
    <p:sldId id="340" r:id="rId7"/>
    <p:sldId id="339" r:id="rId8"/>
    <p:sldId id="259" r:id="rId9"/>
    <p:sldId id="560" r:id="rId10"/>
    <p:sldId id="298" r:id="rId11"/>
  </p:sldIdLst>
  <p:sldSz cx="12192000" cy="6858000"/>
  <p:notesSz cx="7099300" cy="10234613"/>
  <p:embeddedFontLst>
    <p:embeddedFont>
      <p:font typeface="Helvetica Neue" panose="020B0604020202020204" charset="0"/>
      <p:regular r:id="rId13"/>
      <p:bold r:id="rId14"/>
      <p:italic r:id="rId15"/>
      <p:boldItalic r:id="rId16"/>
    </p:embeddedFont>
    <p:embeddedFont>
      <p:font typeface="Verdana" panose="020B0604030504040204" pitchFamily="34" charset="0"/>
      <p:regular r:id="rId17"/>
      <p:bold r:id="rId18"/>
      <p:italic r:id="rId19"/>
      <p:boldItalic r:id="rId2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87">
          <p15:clr>
            <a:srgbClr val="A4A3A4"/>
          </p15:clr>
        </p15:guide>
        <p15:guide id="2" pos="7559">
          <p15:clr>
            <a:srgbClr val="A4A3A4"/>
          </p15:clr>
        </p15:guide>
        <p15:guide id="3" orient="horz" pos="96">
          <p15:clr>
            <a:srgbClr val="A4A3A4"/>
          </p15:clr>
        </p15:guide>
        <p15:guide id="4" orient="horz" pos="300">
          <p15:clr>
            <a:srgbClr val="A4A3A4"/>
          </p15:clr>
        </p15:guide>
        <p15:guide id="5" orient="horz" pos="323">
          <p15:clr>
            <a:srgbClr val="A4A3A4"/>
          </p15:clr>
        </p15:guide>
        <p15:guide id="6" orient="horz" pos="527">
          <p15:clr>
            <a:srgbClr val="A4A3A4"/>
          </p15:clr>
        </p15:guide>
        <p15:guide id="7" orient="horz" pos="4020">
          <p15:clr>
            <a:srgbClr val="A4A3A4"/>
          </p15:clr>
        </p15:guide>
        <p15:guide id="8" orient="horz" pos="4178">
          <p15:clr>
            <a:srgbClr val="A4A3A4"/>
          </p15:clr>
        </p15:guide>
        <p15:guide id="9" orient="horz" pos="4269">
          <p15:clr>
            <a:srgbClr val="A4A3A4"/>
          </p15:clr>
        </p15:guide>
        <p15:guide id="10" orient="horz" pos="4110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91" roundtripDataSignature="AMtx7mjihlfXbNanBtuqEHm35jE5yLhnR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nya Brodie Rudolph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B90CD-4936-46A5-B430-48EF1FF4B074}">
  <a:tblStyle styleId="{B30B90CD-4936-46A5-B430-48EF1FF4B074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254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E9EFF7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/>
      <a:tcStyle>
        <a:tcBdr/>
        <a:fill>
          <a:solidFill>
            <a:srgbClr val="E9EFF7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8"/>
    <p:restoredTop sz="94648"/>
  </p:normalViewPr>
  <p:slideViewPr>
    <p:cSldViewPr snapToGrid="0">
      <p:cViewPr varScale="1">
        <p:scale>
          <a:sx n="67" d="100"/>
          <a:sy n="67" d="100"/>
        </p:scale>
        <p:origin x="924" y="44"/>
      </p:cViewPr>
      <p:guideLst>
        <p:guide pos="87"/>
        <p:guide pos="7559"/>
        <p:guide orient="horz" pos="96"/>
        <p:guide orient="horz" pos="300"/>
        <p:guide orient="horz" pos="323"/>
        <p:guide orient="horz" pos="527"/>
        <p:guide orient="horz" pos="4020"/>
        <p:guide orient="horz" pos="4178"/>
        <p:guide orient="horz" pos="4269"/>
        <p:guide orient="horz" pos="41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9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9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91" Type="http://customschemas.google.com/relationships/presentationmetadata" Target="metadata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9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9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6363" cy="511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1294" y="0"/>
            <a:ext cx="3076363" cy="511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721106"/>
            <a:ext cx="3076363" cy="511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3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1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spcFirstLastPara="1" wrap="square" lIns="99025" tIns="49500" rIns="99025" bIns="495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5" name="Google Shape;72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Google Shape;733;g2d3757fed43_0_4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4" name="Google Shape;734;g2d3757fed43_0_414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300" cy="4605600"/>
          </a:xfrm>
          <a:prstGeom prst="rect">
            <a:avLst/>
          </a:prstGeom>
        </p:spPr>
        <p:txBody>
          <a:bodyPr spcFirstLastPara="1" wrap="square" lIns="99025" tIns="49500" rIns="99025" bIns="495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5" name="Google Shape;735;g2d3757fed43_0_414:notes"/>
          <p:cNvSpPr txBox="1">
            <a:spLocks noGrp="1"/>
          </p:cNvSpPr>
          <p:nvPr>
            <p:ph type="sldNum" idx="12"/>
          </p:nvPr>
        </p:nvSpPr>
        <p:spPr>
          <a:xfrm>
            <a:off x="4021294" y="9721106"/>
            <a:ext cx="3076500" cy="511800"/>
          </a:xfrm>
          <a:prstGeom prst="rect">
            <a:avLst/>
          </a:prstGeom>
        </p:spPr>
        <p:txBody>
          <a:bodyPr spcFirstLastPara="1" wrap="square" lIns="99025" tIns="49500" rIns="99025" bIns="495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9" name="Google Shape;889;g3082129af22_0_225:notes"/>
          <p:cNvSpPr txBox="1">
            <a:spLocks noGrp="1"/>
          </p:cNvSpPr>
          <p:nvPr>
            <p:ph type="body" idx="1"/>
          </p:nvPr>
        </p:nvSpPr>
        <p:spPr>
          <a:xfrm>
            <a:off x="709930" y="4925401"/>
            <a:ext cx="5679300" cy="402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7200" tIns="48600" rIns="97200" bIns="486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</a:pPr>
            <a:endParaRPr/>
          </a:p>
        </p:txBody>
      </p:sp>
      <p:sp>
        <p:nvSpPr>
          <p:cNvPr id="890" name="Google Shape;890;g3082129af22_0_2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4" name="Google Shape;974;g306b9411076_0_1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75" name="Google Shape;975;g306b9411076_0_155:notes"/>
          <p:cNvSpPr txBox="1">
            <a:spLocks noGrp="1"/>
          </p:cNvSpPr>
          <p:nvPr>
            <p:ph type="body" idx="1"/>
          </p:nvPr>
        </p:nvSpPr>
        <p:spPr>
          <a:xfrm>
            <a:off x="709930" y="4925401"/>
            <a:ext cx="5679300" cy="402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7200" tIns="48600" rIns="97200" bIns="48600" anchor="t" anchorCtr="0">
            <a:noAutofit/>
          </a:bodyPr>
          <a:lstStyle/>
          <a:p>
            <a:pPr marL="482600" marR="0" lvl="0" indent="-241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</a:pPr>
            <a:endParaRPr/>
          </a:p>
        </p:txBody>
      </p:sp>
      <p:sp>
        <p:nvSpPr>
          <p:cNvPr id="976" name="Google Shape;976;g306b9411076_0_155:notes"/>
          <p:cNvSpPr txBox="1">
            <a:spLocks noGrp="1"/>
          </p:cNvSpPr>
          <p:nvPr>
            <p:ph type="sldNum" idx="12"/>
          </p:nvPr>
        </p:nvSpPr>
        <p:spPr>
          <a:xfrm>
            <a:off x="4021294" y="9721094"/>
            <a:ext cx="3076500" cy="51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7200" tIns="48600" rIns="97200" bIns="486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</a:pPr>
            <a:fld id="{00000000-1234-1234-1234-123412341234}" type="slidenum"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7" name="Google Shape;1327;g3082129af22_0_3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8" name="Google Shape;1328;g3082129af22_0_352:notes"/>
          <p:cNvSpPr txBox="1">
            <a:spLocks noGrp="1"/>
          </p:cNvSpPr>
          <p:nvPr>
            <p:ph type="body" idx="1"/>
          </p:nvPr>
        </p:nvSpPr>
        <p:spPr>
          <a:xfrm>
            <a:off x="709930" y="4861441"/>
            <a:ext cx="5679300" cy="4605600"/>
          </a:xfrm>
          <a:prstGeom prst="rect">
            <a:avLst/>
          </a:prstGeom>
        </p:spPr>
        <p:txBody>
          <a:bodyPr spcFirstLastPara="1" wrap="square" lIns="99025" tIns="49500" rIns="99025" bIns="495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29" name="Google Shape;1329;g3082129af22_0_352:notes"/>
          <p:cNvSpPr txBox="1">
            <a:spLocks noGrp="1"/>
          </p:cNvSpPr>
          <p:nvPr>
            <p:ph type="sldNum" idx="12"/>
          </p:nvPr>
        </p:nvSpPr>
        <p:spPr>
          <a:xfrm>
            <a:off x="4021294" y="9721106"/>
            <a:ext cx="3076500" cy="511800"/>
          </a:xfrm>
          <a:prstGeom prst="rect">
            <a:avLst/>
          </a:prstGeom>
        </p:spPr>
        <p:txBody>
          <a:bodyPr spcFirstLastPara="1" wrap="square" lIns="99025" tIns="49500" rIns="99025" bIns="495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6" name="Google Shape;176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7" name="Google Shape;177;p3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ZA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98287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6753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9"/>
          <p:cNvSpPr txBox="1">
            <a:spLocks noGrp="1"/>
          </p:cNvSpPr>
          <p:nvPr>
            <p:ph type="ftr" idx="11"/>
          </p:nvPr>
        </p:nvSpPr>
        <p:spPr>
          <a:xfrm>
            <a:off x="1046747" y="6622540"/>
            <a:ext cx="9420727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49"/>
          <p:cNvSpPr txBox="1">
            <a:spLocks noGrp="1"/>
          </p:cNvSpPr>
          <p:nvPr>
            <p:ph type="body" idx="1"/>
          </p:nvPr>
        </p:nvSpPr>
        <p:spPr>
          <a:xfrm>
            <a:off x="149226" y="548681"/>
            <a:ext cx="11893362" cy="2880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397"/>
              </a:spcBef>
              <a:spcAft>
                <a:spcPts val="0"/>
              </a:spcAft>
              <a:buClr>
                <a:srgbClr val="595959"/>
              </a:buClr>
              <a:buSzPts val="1600"/>
              <a:buFont typeface="Verdana"/>
              <a:buNone/>
              <a:defRPr sz="1600">
                <a:solidFill>
                  <a:srgbClr val="595959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50519" algn="l">
              <a:spcBef>
                <a:spcPts val="397"/>
              </a:spcBef>
              <a:spcAft>
                <a:spcPts val="0"/>
              </a:spcAft>
              <a:buSzPts val="1920"/>
              <a:buChar char="▪"/>
              <a:defRPr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lvl="2" indent="-330200" algn="l">
              <a:spcBef>
                <a:spcPts val="397"/>
              </a:spcBef>
              <a:spcAft>
                <a:spcPts val="0"/>
              </a:spcAft>
              <a:buClr>
                <a:schemeClr val="dk1"/>
              </a:buClr>
              <a:buSzPts val="1600"/>
              <a:buChar char="−"/>
              <a:defRPr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lvl="3" indent="-320039" algn="l">
              <a:spcBef>
                <a:spcPts val="397"/>
              </a:spcBef>
              <a:spcAft>
                <a:spcPts val="0"/>
              </a:spcAft>
              <a:buSzPts val="1440"/>
              <a:buChar char="▪"/>
              <a:defRPr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lvl="4" indent="-309879" algn="l">
              <a:spcBef>
                <a:spcPts val="397"/>
              </a:spcBef>
              <a:spcAft>
                <a:spcPts val="0"/>
              </a:spcAft>
              <a:buClr>
                <a:schemeClr val="dk1"/>
              </a:buClr>
              <a:buSzPts val="1280"/>
              <a:buChar char="−"/>
              <a:defRPr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" name="Google Shape;17;p49"/>
          <p:cNvSpPr txBox="1">
            <a:spLocks noGrp="1"/>
          </p:cNvSpPr>
          <p:nvPr>
            <p:ph type="title"/>
          </p:nvPr>
        </p:nvSpPr>
        <p:spPr>
          <a:xfrm>
            <a:off x="146755" y="201164"/>
            <a:ext cx="11874021" cy="2750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Verdana"/>
              <a:buNone/>
              <a:defRPr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g306b9411076_0_193"/>
          <p:cNvSpPr txBox="1">
            <a:spLocks noGrp="1"/>
          </p:cNvSpPr>
          <p:nvPr>
            <p:ph type="sldNum" idx="12"/>
          </p:nvPr>
        </p:nvSpPr>
        <p:spPr>
          <a:xfrm>
            <a:off x="11799736" y="6647290"/>
            <a:ext cx="392400" cy="21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4" name="Google Shape;24;g306b9411076_0_193"/>
          <p:cNvSpPr txBox="1">
            <a:spLocks noGrp="1"/>
          </p:cNvSpPr>
          <p:nvPr>
            <p:ph type="body" idx="1"/>
          </p:nvPr>
        </p:nvSpPr>
        <p:spPr>
          <a:xfrm>
            <a:off x="215756" y="730519"/>
            <a:ext cx="11219400" cy="6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Google Shape;25;g306b9411076_0_193"/>
          <p:cNvSpPr txBox="1">
            <a:spLocks noGrp="1"/>
          </p:cNvSpPr>
          <p:nvPr>
            <p:ph type="title"/>
          </p:nvPr>
        </p:nvSpPr>
        <p:spPr>
          <a:xfrm>
            <a:off x="215756" y="117501"/>
            <a:ext cx="11219400" cy="5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1" i="0" u="none" strike="noStrike" cap="none">
                <a:solidFill>
                  <a:srgbClr val="01434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1_Title and Content">
    <p:bg>
      <p:bgPr>
        <a:solidFill>
          <a:srgbClr val="01434C"/>
        </a:solidFill>
        <a:effectLst/>
      </p:bgPr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30"/>
          <p:cNvSpPr txBox="1">
            <a:spLocks noGrp="1"/>
          </p:cNvSpPr>
          <p:nvPr>
            <p:ph type="sldNum" idx="12"/>
          </p:nvPr>
        </p:nvSpPr>
        <p:spPr>
          <a:xfrm>
            <a:off x="11799736" y="6647290"/>
            <a:ext cx="392264" cy="2107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94C723-4120-AA80-BE3E-C1FC5FA5DA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5756" y="730519"/>
            <a:ext cx="11229655" cy="64611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10;p28">
            <a:extLst>
              <a:ext uri="{FF2B5EF4-FFF2-40B4-BE49-F238E27FC236}">
                <a16:creationId xmlns:a16="http://schemas.microsoft.com/office/drawing/2014/main" id="{97B6A497-007B-AEF4-959B-84B03AEB27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15756" y="117501"/>
            <a:ext cx="11229655" cy="596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7465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8"/>
          <p:cNvSpPr txBox="1">
            <a:spLocks noGrp="1"/>
          </p:cNvSpPr>
          <p:nvPr>
            <p:ph type="title"/>
          </p:nvPr>
        </p:nvSpPr>
        <p:spPr>
          <a:xfrm>
            <a:off x="146755" y="201164"/>
            <a:ext cx="11874021" cy="2750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Verdana"/>
              <a:buNone/>
              <a:defRPr sz="1800" b="1" i="0" u="none" strike="noStrike" cap="none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8"/>
          <p:cNvSpPr txBox="1">
            <a:spLocks noGrp="1"/>
          </p:cNvSpPr>
          <p:nvPr>
            <p:ph type="body" idx="1"/>
          </p:nvPr>
        </p:nvSpPr>
        <p:spPr>
          <a:xfrm>
            <a:off x="3325779" y="2053184"/>
            <a:ext cx="608427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39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Verdana"/>
              <a:buNone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50519" algn="l" rtl="0">
              <a:spcBef>
                <a:spcPts val="397"/>
              </a:spcBef>
              <a:spcAft>
                <a:spcPts val="0"/>
              </a:spcAft>
              <a:buClr>
                <a:schemeClr val="dk2"/>
              </a:buClr>
              <a:buSzPts val="192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30200" algn="l" rtl="0">
              <a:spcBef>
                <a:spcPts val="39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−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20039" algn="l" rtl="0">
              <a:spcBef>
                <a:spcPts val="397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09879" algn="l" rtl="0">
              <a:spcBef>
                <a:spcPts val="397"/>
              </a:spcBef>
              <a:spcAft>
                <a:spcPts val="0"/>
              </a:spcAft>
              <a:buClr>
                <a:schemeClr val="dk1"/>
              </a:buClr>
              <a:buSzPts val="1280"/>
              <a:buFont typeface="Noto Sans Symbols"/>
              <a:buChar char="−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12420" algn="l" rtl="0">
              <a:spcBef>
                <a:spcPts val="264"/>
              </a:spcBef>
              <a:spcAft>
                <a:spcPts val="0"/>
              </a:spcAft>
              <a:buClr>
                <a:schemeClr val="dk1"/>
              </a:buClr>
              <a:buSzPts val="1320"/>
              <a:buFont typeface="Arial"/>
              <a:buChar char="•"/>
              <a:defRPr sz="132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312420" algn="l" rtl="0">
              <a:spcBef>
                <a:spcPts val="264"/>
              </a:spcBef>
              <a:spcAft>
                <a:spcPts val="0"/>
              </a:spcAft>
              <a:buClr>
                <a:schemeClr val="dk1"/>
              </a:buClr>
              <a:buSzPts val="1320"/>
              <a:buFont typeface="Arial"/>
              <a:buChar char="•"/>
              <a:defRPr sz="132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312420" algn="l" rtl="0">
              <a:spcBef>
                <a:spcPts val="264"/>
              </a:spcBef>
              <a:spcAft>
                <a:spcPts val="0"/>
              </a:spcAft>
              <a:buClr>
                <a:schemeClr val="dk1"/>
              </a:buClr>
              <a:buSzPts val="1320"/>
              <a:buFont typeface="Arial"/>
              <a:buChar char="•"/>
              <a:defRPr sz="132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312420" algn="l" rtl="0">
              <a:spcBef>
                <a:spcPts val="264"/>
              </a:spcBef>
              <a:spcAft>
                <a:spcPts val="0"/>
              </a:spcAft>
              <a:buClr>
                <a:schemeClr val="dk1"/>
              </a:buClr>
              <a:buSzPts val="1320"/>
              <a:buFont typeface="Arial"/>
              <a:buChar char="•"/>
              <a:defRPr sz="132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/>
          </a:p>
        </p:txBody>
      </p:sp>
      <p:sp>
        <p:nvSpPr>
          <p:cNvPr id="12" name="Google Shape;12;p48"/>
          <p:cNvSpPr txBox="1">
            <a:spLocks noGrp="1"/>
          </p:cNvSpPr>
          <p:nvPr>
            <p:ph type="ftr" idx="11"/>
          </p:nvPr>
        </p:nvSpPr>
        <p:spPr>
          <a:xfrm>
            <a:off x="146757" y="6616135"/>
            <a:ext cx="1046937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84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/>
          </a:p>
        </p:txBody>
      </p:sp>
      <p:sp>
        <p:nvSpPr>
          <p:cNvPr id="13" name="Google Shape;13;p48"/>
          <p:cNvSpPr txBox="1"/>
          <p:nvPr/>
        </p:nvSpPr>
        <p:spPr>
          <a:xfrm>
            <a:off x="11313460" y="6628385"/>
            <a:ext cx="707317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350" tIns="30175" rIns="60350" bIns="301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jp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jp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jp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36.jpe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" name="Google Shape;727;p1"/>
          <p:cNvSpPr txBox="1">
            <a:spLocks noGrp="1"/>
          </p:cNvSpPr>
          <p:nvPr>
            <p:ph type="title"/>
          </p:nvPr>
        </p:nvSpPr>
        <p:spPr>
          <a:xfrm>
            <a:off x="491450" y="1381775"/>
            <a:ext cx="5396100" cy="13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Verdana"/>
              <a:buNone/>
            </a:pPr>
            <a:r>
              <a:rPr lang="en-GB" sz="3200">
                <a:solidFill>
                  <a:schemeClr val="lt1"/>
                </a:solidFill>
                <a:highlight>
                  <a:srgbClr val="13676B"/>
                </a:highlight>
                <a:latin typeface="Calibri"/>
                <a:ea typeface="Calibri"/>
                <a:cs typeface="Calibri"/>
                <a:sym typeface="Calibri"/>
              </a:rPr>
              <a:t>International Panel</a:t>
            </a:r>
            <a:br>
              <a:rPr lang="en-GB" sz="3200">
                <a:solidFill>
                  <a:schemeClr val="lt1"/>
                </a:solidFill>
                <a:highlight>
                  <a:srgbClr val="13676B"/>
                </a:highlight>
                <a:latin typeface="Calibri"/>
                <a:ea typeface="Calibri"/>
                <a:cs typeface="Calibri"/>
                <a:sym typeface="Calibri"/>
              </a:rPr>
            </a:br>
            <a:r>
              <a:rPr lang="en-GB" sz="3200">
                <a:solidFill>
                  <a:schemeClr val="lt1"/>
                </a:solidFill>
                <a:highlight>
                  <a:srgbClr val="13676B"/>
                </a:highlight>
                <a:latin typeface="Calibri"/>
                <a:ea typeface="Calibri"/>
                <a:cs typeface="Calibri"/>
                <a:sym typeface="Calibri"/>
              </a:rPr>
              <a:t>for Ocean Sustainability</a:t>
            </a:r>
            <a:endParaRPr sz="3200">
              <a:solidFill>
                <a:schemeClr val="lt1"/>
              </a:solidFill>
              <a:highlight>
                <a:srgbClr val="13676B"/>
              </a:highlight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Verdana"/>
              <a:buNone/>
            </a:pPr>
            <a:endParaRPr/>
          </a:p>
        </p:txBody>
      </p:sp>
      <p:sp>
        <p:nvSpPr>
          <p:cNvPr id="729" name="Google Shape;729;p1"/>
          <p:cNvSpPr/>
          <p:nvPr/>
        </p:nvSpPr>
        <p:spPr>
          <a:xfrm>
            <a:off x="491450" y="836625"/>
            <a:ext cx="2433900" cy="45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en-GB" sz="3000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T</a:t>
            </a:r>
            <a:r>
              <a:rPr lang="en-GB" sz="3000" b="0" i="1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owards an</a:t>
            </a:r>
            <a:endParaRPr sz="3000" b="0" i="1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1" name="Google Shape;731;p1"/>
          <p:cNvSpPr txBox="1"/>
          <p:nvPr/>
        </p:nvSpPr>
        <p:spPr>
          <a:xfrm>
            <a:off x="583400" y="4764097"/>
            <a:ext cx="4303910" cy="7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500" b="1" dirty="0">
                <a:solidFill>
                  <a:schemeClr val="lt1"/>
                </a:solidFill>
                <a:highlight>
                  <a:srgbClr val="13676B"/>
                </a:highlight>
                <a:latin typeface="Calibri"/>
                <a:ea typeface="Calibri"/>
                <a:cs typeface="Calibri"/>
                <a:sym typeface="Calibri"/>
              </a:rPr>
              <a:t>Oceans Economy Symposium </a:t>
            </a:r>
            <a:r>
              <a:rPr lang="en-GB" b="1" dirty="0">
                <a:solidFill>
                  <a:schemeClr val="lt1"/>
                </a:solidFill>
                <a:highlight>
                  <a:srgbClr val="13676B"/>
                </a:highlight>
                <a:latin typeface="Calibri"/>
                <a:ea typeface="Calibri"/>
                <a:cs typeface="Calibri"/>
                <a:sym typeface="Calibri"/>
              </a:rPr>
              <a:t>16 October 2024</a:t>
            </a:r>
            <a:endParaRPr b="1" dirty="0">
              <a:highlight>
                <a:srgbClr val="13676B"/>
              </a:highlight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55D99C-698C-B048-AF54-5D2F487ACDD3}"/>
              </a:ext>
            </a:extLst>
          </p:cNvPr>
          <p:cNvSpPr txBox="1"/>
          <p:nvPr/>
        </p:nvSpPr>
        <p:spPr>
          <a:xfrm>
            <a:off x="8133695" y="4879498"/>
            <a:ext cx="386780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800" b="1" dirty="0">
                <a:solidFill>
                  <a:schemeClr val="bg1"/>
                </a:solidFill>
              </a:rPr>
              <a:t>Tanya Brodie Rudolph</a:t>
            </a:r>
          </a:p>
          <a:p>
            <a:pPr algn="r"/>
            <a:r>
              <a:rPr lang="en-GB" sz="1200" b="1" dirty="0">
                <a:solidFill>
                  <a:schemeClr val="bg1"/>
                </a:solidFill>
              </a:rPr>
              <a:t>Centre for Sustainability Transi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C56CB1-7916-CC48-9B86-003351813B0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0129"/>
          <a:stretch/>
        </p:blipFill>
        <p:spPr>
          <a:xfrm>
            <a:off x="9962494" y="5616473"/>
            <a:ext cx="1987769" cy="903452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2395C8-07D1-139E-7372-6D089A55E9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66D2D6-1093-A61B-6D8D-A6F426D20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FR"/>
          </a:p>
        </p:txBody>
      </p:sp>
      <p:pic>
        <p:nvPicPr>
          <p:cNvPr id="6" name="Picture 5" descr="A person in the water&#10;&#10;Description automatically generated with medium confidence">
            <a:extLst>
              <a:ext uri="{FF2B5EF4-FFF2-40B4-BE49-F238E27FC236}">
                <a16:creationId xmlns:a16="http://schemas.microsoft.com/office/drawing/2014/main" id="{F818E47E-999D-5903-2261-7458C497B1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596917" y="-2619581"/>
            <a:ext cx="6975501" cy="12214665"/>
          </a:xfrm>
          <a:prstGeom prst="rect">
            <a:avLst/>
          </a:prstGeom>
        </p:spPr>
      </p:pic>
      <p:sp>
        <p:nvSpPr>
          <p:cNvPr id="7" name="Google Shape;292;p19">
            <a:extLst>
              <a:ext uri="{FF2B5EF4-FFF2-40B4-BE49-F238E27FC236}">
                <a16:creationId xmlns:a16="http://schemas.microsoft.com/office/drawing/2014/main" id="{758D5766-458A-5B60-B685-4E735FE89C06}"/>
              </a:ext>
            </a:extLst>
          </p:cNvPr>
          <p:cNvSpPr/>
          <p:nvPr/>
        </p:nvSpPr>
        <p:spPr>
          <a:xfrm>
            <a:off x="5850833" y="3169069"/>
            <a:ext cx="5949162" cy="1337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ZA" sz="6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hank you!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ZA" sz="4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ZA" sz="4400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ww.ipos.earth</a:t>
            </a:r>
            <a:endParaRPr sz="4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9B8CCF-6ECD-ED49-B93C-B78D424A5AFF}"/>
              </a:ext>
            </a:extLst>
          </p:cNvPr>
          <p:cNvSpPr txBox="1"/>
          <p:nvPr/>
        </p:nvSpPr>
        <p:spPr>
          <a:xfrm>
            <a:off x="7350182" y="5082678"/>
            <a:ext cx="29504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nya.brodierudolph@ipos.earth</a:t>
            </a:r>
            <a:endParaRPr lang="en-GB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378BA3-7AF7-2840-97A4-DBC3F0AB5393}"/>
              </a:ext>
            </a:extLst>
          </p:cNvPr>
          <p:cNvSpPr txBox="1"/>
          <p:nvPr/>
        </p:nvSpPr>
        <p:spPr>
          <a:xfrm>
            <a:off x="6818271" y="1510240"/>
            <a:ext cx="4413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 and ideas?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0FA8863-EB62-B249-88B5-ABC8C08386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3273" y="2241908"/>
            <a:ext cx="2147560" cy="2147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9176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Google Shape;737;g2d3757fed43_0_414"/>
          <p:cNvSpPr txBox="1">
            <a:spLocks noGrp="1"/>
          </p:cNvSpPr>
          <p:nvPr>
            <p:ph type="body" idx="1"/>
          </p:nvPr>
        </p:nvSpPr>
        <p:spPr>
          <a:xfrm>
            <a:off x="1188750" y="1523250"/>
            <a:ext cx="9814500" cy="3811500"/>
          </a:xfrm>
          <a:prstGeom prst="rect">
            <a:avLst/>
          </a:prstGeom>
          <a:solidFill>
            <a:schemeClr val="lt2"/>
          </a:solidFill>
        </p:spPr>
        <p:txBody>
          <a:bodyPr spcFirstLastPara="1" wrap="square" lIns="0" tIns="0" rIns="0" bIns="0" anchor="ctr" anchorCtr="0">
            <a:noAutofit/>
          </a:bodyPr>
          <a:lstStyle/>
          <a:p>
            <a:pPr marL="914400" lvl="0" indent="-368300" algn="l" rtl="0">
              <a:spcBef>
                <a:spcPts val="397"/>
              </a:spcBef>
              <a:spcAft>
                <a:spcPts val="0"/>
              </a:spcAft>
              <a:buClr>
                <a:schemeClr val="dk2"/>
              </a:buClr>
              <a:buSzPts val="2200"/>
              <a:buFont typeface="Calibri"/>
              <a:buChar char="●"/>
            </a:pPr>
            <a:r>
              <a:rPr lang="en-US" sz="22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Why an IPOS</a:t>
            </a:r>
          </a:p>
          <a:p>
            <a:pPr marL="914400" lvl="0" indent="-368300" algn="l" rtl="0">
              <a:spcBef>
                <a:spcPts val="397"/>
              </a:spcBef>
              <a:spcAft>
                <a:spcPts val="0"/>
              </a:spcAft>
              <a:buClr>
                <a:schemeClr val="dk2"/>
              </a:buClr>
              <a:buSzPts val="2200"/>
              <a:buFont typeface="Calibri"/>
              <a:buChar char="●"/>
            </a:pPr>
            <a:r>
              <a:rPr lang="en-US" sz="22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For What</a:t>
            </a:r>
          </a:p>
          <a:p>
            <a:pPr marL="914400" lvl="0" indent="-368300" algn="l" rtl="0">
              <a:spcBef>
                <a:spcPts val="397"/>
              </a:spcBef>
              <a:spcAft>
                <a:spcPts val="0"/>
              </a:spcAft>
              <a:buClr>
                <a:schemeClr val="dk2"/>
              </a:buClr>
              <a:buSzPts val="2200"/>
              <a:buFont typeface="Calibri"/>
              <a:buChar char="●"/>
            </a:pPr>
            <a:r>
              <a:rPr lang="en-US" sz="22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What </a:t>
            </a:r>
          </a:p>
          <a:p>
            <a:pPr marL="914400" lvl="0" indent="-368300" algn="l" rtl="0">
              <a:spcBef>
                <a:spcPts val="397"/>
              </a:spcBef>
              <a:spcAft>
                <a:spcPts val="0"/>
              </a:spcAft>
              <a:buClr>
                <a:schemeClr val="dk2"/>
              </a:buClr>
              <a:buSzPts val="2200"/>
              <a:buFont typeface="Calibri"/>
              <a:buChar char="●"/>
            </a:pPr>
            <a:r>
              <a:rPr lang="en-US" sz="22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How  </a:t>
            </a:r>
          </a:p>
          <a:p>
            <a:pPr marL="914400" lvl="0" indent="-368300" algn="l" rtl="0">
              <a:spcBef>
                <a:spcPts val="397"/>
              </a:spcBef>
              <a:spcAft>
                <a:spcPts val="0"/>
              </a:spcAft>
              <a:buClr>
                <a:schemeClr val="dk2"/>
              </a:buClr>
              <a:buSzPts val="2200"/>
              <a:buFont typeface="Calibri"/>
              <a:buChar char="●"/>
            </a:pPr>
            <a:r>
              <a:rPr lang="en-US" sz="22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What Next</a:t>
            </a:r>
            <a:endParaRPr sz="2200" b="1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8" name="Google Shape;738;g2d3757fed43_0_414"/>
          <p:cNvSpPr txBox="1">
            <a:spLocks noGrp="1"/>
          </p:cNvSpPr>
          <p:nvPr>
            <p:ph type="title"/>
          </p:nvPr>
        </p:nvSpPr>
        <p:spPr>
          <a:xfrm>
            <a:off x="146755" y="201164"/>
            <a:ext cx="11874000" cy="2751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dirty="0">
                <a:latin typeface="Calibri"/>
                <a:ea typeface="Calibri"/>
                <a:cs typeface="Calibri"/>
                <a:sym typeface="Calibri"/>
              </a:rPr>
              <a:t>5 Key Questions</a:t>
            </a:r>
            <a:endParaRPr sz="2800" dirty="0"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g3082129af22_0_225"/>
          <p:cNvSpPr txBox="1">
            <a:spLocks noGrp="1"/>
          </p:cNvSpPr>
          <p:nvPr>
            <p:ph type="body" idx="1"/>
          </p:nvPr>
        </p:nvSpPr>
        <p:spPr>
          <a:xfrm>
            <a:off x="215750" y="730529"/>
            <a:ext cx="11219400" cy="10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GB" b="1" dirty="0">
                <a:solidFill>
                  <a:schemeClr val="lt1"/>
                </a:solidFill>
                <a:highlight>
                  <a:srgbClr val="005B64"/>
                </a:highlight>
              </a:rPr>
              <a:t>We are in an ocean emergency</a:t>
            </a:r>
            <a:r>
              <a:rPr lang="en-GB" dirty="0">
                <a:solidFill>
                  <a:schemeClr val="dk1"/>
                </a:solidFill>
              </a:rPr>
              <a:t>. We are far from achieving the targets agreed under SDG 14 and others. The international community is mobilizing around the blue agenda: a source of hope, but more needs to be done. </a:t>
            </a:r>
            <a:r>
              <a:rPr lang="en-GB" sz="200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ne of the enablers is a</a:t>
            </a:r>
            <a:r>
              <a:rPr lang="en-GB" b="1" dirty="0">
                <a:solidFill>
                  <a:schemeClr val="lt1"/>
                </a:solidFill>
              </a:rPr>
              <a:t> </a:t>
            </a:r>
            <a:r>
              <a:rPr lang="en-GB" b="1" dirty="0">
                <a:solidFill>
                  <a:schemeClr val="lt1"/>
                </a:solidFill>
                <a:highlight>
                  <a:srgbClr val="005B64"/>
                </a:highlight>
              </a:rPr>
              <a:t>better functioning science-policy interface</a:t>
            </a:r>
            <a:r>
              <a:rPr lang="en-GB" b="1" dirty="0">
                <a:solidFill>
                  <a:schemeClr val="dk1"/>
                </a:solidFill>
              </a:rPr>
              <a:t>.</a:t>
            </a:r>
            <a:endParaRPr b="1" dirty="0">
              <a:solidFill>
                <a:schemeClr val="dk1"/>
              </a:solidFill>
            </a:endParaRPr>
          </a:p>
        </p:txBody>
      </p:sp>
      <p:sp>
        <p:nvSpPr>
          <p:cNvPr id="893" name="Google Shape;893;g3082129af22_0_225"/>
          <p:cNvSpPr txBox="1">
            <a:spLocks noGrp="1"/>
          </p:cNvSpPr>
          <p:nvPr>
            <p:ph type="title"/>
          </p:nvPr>
        </p:nvSpPr>
        <p:spPr>
          <a:xfrm>
            <a:off x="215756" y="117501"/>
            <a:ext cx="11219400" cy="5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Verdana"/>
              <a:buNone/>
            </a:pPr>
            <a:r>
              <a:rPr lang="en-GB" sz="2800" dirty="0">
                <a:solidFill>
                  <a:schemeClr val="dk2"/>
                </a:solidFill>
              </a:rPr>
              <a:t>Why</a:t>
            </a:r>
            <a:r>
              <a:rPr lang="en-GB" sz="3000" dirty="0"/>
              <a:t> an IPOS</a:t>
            </a:r>
            <a:endParaRPr sz="3000" dirty="0"/>
          </a:p>
        </p:txBody>
      </p:sp>
      <p:pic>
        <p:nvPicPr>
          <p:cNvPr id="894" name="Google Shape;894;g3082129af22_0_225" descr="A map of the world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34337" r="7056" b="27240"/>
          <a:stretch/>
        </p:blipFill>
        <p:spPr>
          <a:xfrm>
            <a:off x="1078788" y="2356157"/>
            <a:ext cx="6575460" cy="3459016"/>
          </a:xfrm>
          <a:prstGeom prst="rect">
            <a:avLst/>
          </a:prstGeom>
          <a:noFill/>
          <a:ln>
            <a:noFill/>
          </a:ln>
        </p:spPr>
      </p:pic>
      <p:pic>
        <p:nvPicPr>
          <p:cNvPr id="895" name="Google Shape;895;g3082129af22_0_225" descr="A map of the world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457" r="81683" b="57066"/>
          <a:stretch/>
        </p:blipFill>
        <p:spPr>
          <a:xfrm>
            <a:off x="215756" y="4586003"/>
            <a:ext cx="2003460" cy="2041183"/>
          </a:xfrm>
          <a:prstGeom prst="rect">
            <a:avLst/>
          </a:prstGeom>
          <a:noFill/>
          <a:ln>
            <a:noFill/>
          </a:ln>
        </p:spPr>
      </p:pic>
      <p:pic>
        <p:nvPicPr>
          <p:cNvPr id="896" name="Google Shape;896;g3082129af22_0_225" descr="A map of the world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24557" t="60293" r="63444" b="26462"/>
          <a:stretch/>
        </p:blipFill>
        <p:spPr>
          <a:xfrm>
            <a:off x="544529" y="3915034"/>
            <a:ext cx="1345916" cy="629540"/>
          </a:xfrm>
          <a:prstGeom prst="rect">
            <a:avLst/>
          </a:prstGeom>
          <a:noFill/>
          <a:ln>
            <a:noFill/>
          </a:ln>
        </p:spPr>
      </p:pic>
      <p:sp>
        <p:nvSpPr>
          <p:cNvPr id="898" name="Google Shape;898;g3082129af22_0_225"/>
          <p:cNvSpPr txBox="1"/>
          <p:nvPr/>
        </p:nvSpPr>
        <p:spPr>
          <a:xfrm>
            <a:off x="8054100" y="2429331"/>
            <a:ext cx="4137900" cy="4216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Key challenge globally: 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Balance of sustainability pillars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en-GB" sz="2000" b="1" i="0" u="none" strike="noStrike" cap="none" dirty="0">
                <a:solidFill>
                  <a:schemeClr val="dk2"/>
                </a:solidFill>
                <a:latin typeface="Calibri"/>
                <a:cs typeface="Calibri"/>
                <a:sym typeface="Calibri"/>
              </a:rPr>
              <a:t>Bet</a:t>
            </a:r>
            <a:r>
              <a:rPr lang="en-GB" sz="2000" b="1" dirty="0">
                <a:solidFill>
                  <a:schemeClr val="dk2"/>
                </a:solidFill>
                <a:latin typeface="Calibri"/>
                <a:cs typeface="Calibri"/>
                <a:sym typeface="Calibri"/>
              </a:rPr>
              <a:t>ter science-policy-society interfac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1" i="0" u="none" strike="noStrike" cap="none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chemeClr val="dk2"/>
                </a:solidFill>
                <a:latin typeface="Calibri"/>
                <a:ea typeface="Arial"/>
                <a:cs typeface="Calibri"/>
                <a:sym typeface="Calibri"/>
              </a:rPr>
              <a:t>Key challenge locally: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chemeClr val="dk2"/>
                </a:solidFill>
                <a:latin typeface="Calibri"/>
                <a:ea typeface="Arial"/>
                <a:cs typeface="Calibri"/>
                <a:sym typeface="Calibri"/>
              </a:rPr>
              <a:t>Accelerate blue economy stra</a:t>
            </a:r>
            <a:r>
              <a:rPr lang="en-GB" sz="2000" b="1" dirty="0">
                <a:solidFill>
                  <a:schemeClr val="dk2"/>
                </a:solidFill>
                <a:latin typeface="Calibri"/>
                <a:cs typeface="Calibri"/>
                <a:sym typeface="Calibri"/>
              </a:rPr>
              <a:t>tegies,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chemeClr val="dk2"/>
                </a:solidFill>
                <a:latin typeface="Calibri"/>
                <a:ea typeface="Arial"/>
                <a:cs typeface="Calibri"/>
                <a:sym typeface="Calibri"/>
              </a:rPr>
              <a:t>taking into account –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dk2"/>
                </a:solidFill>
                <a:latin typeface="Calibri"/>
                <a:cs typeface="Calibri"/>
                <a:sym typeface="Calibri"/>
              </a:rPr>
              <a:t>Capacity building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en-GB" sz="2000" b="1" i="0" u="none" strike="noStrike" cap="none" dirty="0">
                <a:solidFill>
                  <a:schemeClr val="dk2"/>
                </a:solidFill>
                <a:latin typeface="Calibri"/>
                <a:ea typeface="Arial"/>
                <a:cs typeface="Calibri"/>
                <a:sym typeface="Calibri"/>
              </a:rPr>
              <a:t>Need for adaptation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dk2"/>
                </a:solidFill>
                <a:latin typeface="Calibri"/>
                <a:cs typeface="Calibri"/>
                <a:sym typeface="Calibri"/>
              </a:rPr>
              <a:t>Continued need for mitigation</a:t>
            </a:r>
            <a:endParaRPr lang="en-GB" sz="2000" b="1" i="0" u="none" strike="noStrike" cap="none" dirty="0">
              <a:solidFill>
                <a:schemeClr val="dk2"/>
              </a:solidFill>
              <a:latin typeface="Calibri"/>
              <a:ea typeface="Arial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lang="en-GB" sz="2000" b="1" dirty="0">
              <a:solidFill>
                <a:schemeClr val="dk2"/>
              </a:solidFill>
              <a:latin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4" name="Google Shape;904;g3082129af22_0_225"/>
          <p:cNvCxnSpPr/>
          <p:nvPr/>
        </p:nvCxnSpPr>
        <p:spPr>
          <a:xfrm>
            <a:off x="7987162" y="2589087"/>
            <a:ext cx="0" cy="2949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" name="Google Shape;978;g306b9411076_0_155"/>
          <p:cNvSpPr txBox="1"/>
          <p:nvPr/>
        </p:nvSpPr>
        <p:spPr>
          <a:xfrm>
            <a:off x="266466" y="1147981"/>
            <a:ext cx="7842600" cy="50167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GB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States have a dual role: </a:t>
            </a:r>
          </a:p>
          <a:p>
            <a:pPr marL="34290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to accelerate the implementation of their international commitments for a sustainable ocean; and  </a:t>
            </a:r>
          </a:p>
          <a:p>
            <a:pPr marL="34290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develop blue jobs, blue economies, build resilience in local communiti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lang="en-GB" sz="2000" b="1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GB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Existing evidence base:</a:t>
            </a:r>
          </a:p>
          <a:p>
            <a:pPr marL="34290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Global knowledge (IPCC, IPBES, WOA, UN Decade…)</a:t>
            </a:r>
          </a:p>
          <a:p>
            <a:pPr marL="34290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Regional and local science (Benguela Current, All Atlantic, Ocean Economy Master Plan, MSP Factsheet SANBI …)</a:t>
            </a:r>
          </a:p>
          <a:p>
            <a:pPr marL="34290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 pitchFamily="34" charset="0"/>
              <a:buChar char="•"/>
            </a:pPr>
            <a:endParaRPr lang="en-GB" sz="2000" b="1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</a:pPr>
            <a:r>
              <a:rPr lang="en-GB" sz="2000" b="1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But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We need to accelerate impact: policy makers need to seize the science to close the implementation gap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This is value proposition of the services to be provided by the IPO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2000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- to answer specific questions from States </a:t>
            </a:r>
            <a:endParaRPr sz="2000" b="1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9" name="Google Shape;979;g306b9411076_0_155"/>
          <p:cNvSpPr/>
          <p:nvPr/>
        </p:nvSpPr>
        <p:spPr>
          <a:xfrm>
            <a:off x="11294900" y="0"/>
            <a:ext cx="856800" cy="10269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0" name="Google Shape;980;g306b9411076_0_155"/>
          <p:cNvSpPr txBox="1">
            <a:spLocks noGrp="1"/>
          </p:cNvSpPr>
          <p:nvPr>
            <p:ph type="title"/>
          </p:nvPr>
        </p:nvSpPr>
        <p:spPr>
          <a:xfrm>
            <a:off x="179900" y="215250"/>
            <a:ext cx="6446700" cy="5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800" dirty="0">
                <a:solidFill>
                  <a:schemeClr val="dk2"/>
                </a:solidFill>
              </a:rPr>
              <a:t>For Whom</a:t>
            </a:r>
            <a:endParaRPr sz="2800" dirty="0">
              <a:solidFill>
                <a:schemeClr val="dk2"/>
              </a:solidFill>
            </a:endParaRPr>
          </a:p>
        </p:txBody>
      </p:sp>
      <p:pic>
        <p:nvPicPr>
          <p:cNvPr id="981" name="Google Shape;981;g306b9411076_0_155" descr="A rocky shore with waves crashing on it&#10;&#10;Description automatically generated with medium confidence"/>
          <p:cNvPicPr preferRelativeResize="0"/>
          <p:nvPr/>
        </p:nvPicPr>
        <p:blipFill rotWithShape="1">
          <a:blip r:embed="rId3">
            <a:alphaModFix/>
          </a:blip>
          <a:srcRect l="-1490" t="14436" r="1489" b="47880"/>
          <a:stretch/>
        </p:blipFill>
        <p:spPr>
          <a:xfrm rot="5400000">
            <a:off x="7188939" y="1066961"/>
            <a:ext cx="7028150" cy="455392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g3082129af22_0_352"/>
          <p:cNvSpPr txBox="1"/>
          <p:nvPr/>
        </p:nvSpPr>
        <p:spPr>
          <a:xfrm>
            <a:off x="3904350" y="3441675"/>
            <a:ext cx="7530600" cy="75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en-GB"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rget users: </a:t>
            </a:r>
            <a:r>
              <a:rPr lang="en-GB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tes and Intergovernmental organisations </a:t>
            </a:r>
            <a:endParaRPr sz="20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imeline for outputs:</a:t>
            </a:r>
            <a:r>
              <a:rPr lang="en-GB" sz="2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Weeks</a:t>
            </a:r>
            <a:endParaRPr sz="20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2" name="Google Shape;1332;g3082129af22_0_352"/>
          <p:cNvSpPr txBox="1"/>
          <p:nvPr/>
        </p:nvSpPr>
        <p:spPr>
          <a:xfrm>
            <a:off x="3904350" y="5276025"/>
            <a:ext cx="7530600" cy="75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arget users: </a:t>
            </a:r>
            <a:r>
              <a:rPr lang="en-GB" sz="2000">
                <a:latin typeface="Calibri"/>
                <a:ea typeface="Calibri"/>
                <a:cs typeface="Calibri"/>
                <a:sym typeface="Calibri"/>
              </a:rPr>
              <a:t>Non-State actors for the inputs, States for the outputs </a:t>
            </a:r>
            <a:endParaRPr sz="20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imeline for outputs:</a:t>
            </a:r>
            <a:r>
              <a:rPr lang="en-GB" sz="2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Report made to states every 6/12  months</a:t>
            </a:r>
            <a:endParaRPr sz="20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3" name="Google Shape;1333;g3082129af22_0_352"/>
          <p:cNvSpPr/>
          <p:nvPr/>
        </p:nvSpPr>
        <p:spPr>
          <a:xfrm>
            <a:off x="1046650" y="3069963"/>
            <a:ext cx="2638500" cy="15027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324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24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Ocean Rapid Response</a:t>
            </a:r>
            <a:endParaRPr sz="2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4" name="Google Shape;1334;g3082129af22_0_352"/>
          <p:cNvSpPr txBox="1">
            <a:spLocks noGrp="1"/>
          </p:cNvSpPr>
          <p:nvPr>
            <p:ph type="title"/>
          </p:nvPr>
        </p:nvSpPr>
        <p:spPr>
          <a:xfrm>
            <a:off x="301100" y="289513"/>
            <a:ext cx="11219400" cy="5964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dirty="0">
                <a:solidFill>
                  <a:schemeClr val="dk2"/>
                </a:solidFill>
              </a:rPr>
              <a:t>What - 3 main services considered to date for the IPOS</a:t>
            </a:r>
            <a:endParaRPr sz="2800" dirty="0">
              <a:solidFill>
                <a:schemeClr val="dk2"/>
              </a:solidFill>
            </a:endParaRPr>
          </a:p>
        </p:txBody>
      </p:sp>
      <p:sp>
        <p:nvSpPr>
          <p:cNvPr id="1335" name="Google Shape;1335;g3082129af22_0_352"/>
          <p:cNvSpPr/>
          <p:nvPr/>
        </p:nvSpPr>
        <p:spPr>
          <a:xfrm>
            <a:off x="1044625" y="4904325"/>
            <a:ext cx="2638500" cy="15027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324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24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Ocean </a:t>
            </a:r>
            <a:r>
              <a:rPr lang="en-GB" sz="2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entinel</a:t>
            </a:r>
            <a:endParaRPr sz="2400" b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6" name="Google Shape;1336;g3082129af22_0_352"/>
          <p:cNvSpPr/>
          <p:nvPr/>
        </p:nvSpPr>
        <p:spPr>
          <a:xfrm>
            <a:off x="1048673" y="1235625"/>
            <a:ext cx="2638500" cy="15027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324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24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Ocean </a:t>
            </a:r>
            <a:endParaRPr sz="2400" b="1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24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Action Requests</a:t>
            </a:r>
            <a:endParaRPr sz="2400" b="1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7" name="Google Shape;1337;g3082129af22_0_352"/>
          <p:cNvSpPr/>
          <p:nvPr/>
        </p:nvSpPr>
        <p:spPr>
          <a:xfrm>
            <a:off x="811973" y="1750350"/>
            <a:ext cx="473400" cy="473400"/>
          </a:xfrm>
          <a:prstGeom prst="ellipse">
            <a:avLst/>
          </a:prstGeom>
          <a:solidFill>
            <a:schemeClr val="accent1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</a:t>
            </a:r>
            <a:endParaRPr sz="20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g3082129af22_0_352"/>
          <p:cNvSpPr/>
          <p:nvPr/>
        </p:nvSpPr>
        <p:spPr>
          <a:xfrm>
            <a:off x="811973" y="3584625"/>
            <a:ext cx="473400" cy="473400"/>
          </a:xfrm>
          <a:prstGeom prst="ellipse">
            <a:avLst/>
          </a:prstGeom>
          <a:solidFill>
            <a:schemeClr val="accent1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</a:t>
            </a:r>
            <a:endParaRPr sz="20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339" name="Google Shape;1339;g3082129af22_0_352"/>
          <p:cNvGrpSpPr/>
          <p:nvPr/>
        </p:nvGrpSpPr>
        <p:grpSpPr>
          <a:xfrm>
            <a:off x="2131257" y="2618042"/>
            <a:ext cx="473326" cy="473326"/>
            <a:chOff x="3298663" y="2320467"/>
            <a:chExt cx="473326" cy="473326"/>
          </a:xfrm>
        </p:grpSpPr>
        <p:sp>
          <p:nvSpPr>
            <p:cNvPr id="1340" name="Google Shape;1340;g3082129af22_0_352"/>
            <p:cNvSpPr/>
            <p:nvPr/>
          </p:nvSpPr>
          <p:spPr>
            <a:xfrm>
              <a:off x="3327991" y="2349795"/>
              <a:ext cx="414600" cy="414600"/>
            </a:xfrm>
            <a:prstGeom prst="ellipse">
              <a:avLst/>
            </a:prstGeom>
            <a:solidFill>
              <a:srgbClr val="CFF2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1" name="Google Shape;1341;g3082129af22_0_352" descr="Badge à suivre avec un remplissage uni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298663" y="2320467"/>
              <a:ext cx="473326" cy="47332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342" name="Google Shape;1342;g3082129af22_0_352"/>
          <p:cNvGrpSpPr/>
          <p:nvPr/>
        </p:nvGrpSpPr>
        <p:grpSpPr>
          <a:xfrm>
            <a:off x="2129244" y="4430996"/>
            <a:ext cx="473326" cy="473326"/>
            <a:chOff x="3298663" y="2320467"/>
            <a:chExt cx="473326" cy="473326"/>
          </a:xfrm>
        </p:grpSpPr>
        <p:sp>
          <p:nvSpPr>
            <p:cNvPr id="1343" name="Google Shape;1343;g3082129af22_0_352"/>
            <p:cNvSpPr/>
            <p:nvPr/>
          </p:nvSpPr>
          <p:spPr>
            <a:xfrm>
              <a:off x="3327991" y="2349795"/>
              <a:ext cx="414600" cy="414600"/>
            </a:xfrm>
            <a:prstGeom prst="ellipse">
              <a:avLst/>
            </a:prstGeom>
            <a:solidFill>
              <a:srgbClr val="CFF2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4" name="Google Shape;1344;g3082129af22_0_352" descr="Badge à suivre avec un remplissage uni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298663" y="2320467"/>
              <a:ext cx="473326" cy="47332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45" name="Google Shape;1345;g3082129af22_0_352"/>
          <p:cNvSpPr/>
          <p:nvPr/>
        </p:nvSpPr>
        <p:spPr>
          <a:xfrm>
            <a:off x="811973" y="5473700"/>
            <a:ext cx="473400" cy="473400"/>
          </a:xfrm>
          <a:prstGeom prst="ellipse">
            <a:avLst/>
          </a:prstGeom>
          <a:solidFill>
            <a:schemeClr val="accent1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</a:t>
            </a:r>
            <a:endParaRPr sz="20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6" name="Google Shape;1346;g3082129af22_0_352"/>
          <p:cNvSpPr txBox="1"/>
          <p:nvPr/>
        </p:nvSpPr>
        <p:spPr>
          <a:xfrm>
            <a:off x="3904350" y="1468800"/>
            <a:ext cx="7530600" cy="106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arget users: </a:t>
            </a:r>
            <a:r>
              <a:rPr lang="en-GB" sz="2000">
                <a:latin typeface="Calibri"/>
                <a:ea typeface="Calibri"/>
                <a:cs typeface="Calibri"/>
                <a:sym typeface="Calibri"/>
              </a:rPr>
              <a:t>States and I</a:t>
            </a:r>
            <a:r>
              <a:rPr lang="en-GB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tergovernmental organisations </a:t>
            </a:r>
            <a:endParaRPr sz="20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imeline for outputs:</a:t>
            </a:r>
            <a:r>
              <a:rPr lang="en-GB" sz="2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Up to 12 months after the request is prioritised by the IPOS</a:t>
            </a:r>
            <a:endParaRPr sz="20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9249B7C-8BF2-0245-9BE5-1EAE205CD8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5756" y="730519"/>
            <a:ext cx="11229655" cy="359073"/>
          </a:xfrm>
        </p:spPr>
        <p:txBody>
          <a:bodyPr/>
          <a:lstStyle/>
          <a:p>
            <a:r>
              <a:rPr lang="en-GB" dirty="0"/>
              <a:t>Provide a detailed roadmap to facilitate the implementation of offshore renewable wind in the provi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82321E-5094-FF46-A39D-63A750C0C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Example of an Ocean Action Request: Northern Ca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0E9B9E-8422-D245-8DBF-39ACB62F37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550" y="1316724"/>
            <a:ext cx="7571373" cy="50683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1B274FC-1B65-304F-9231-4F379A0F99A8}"/>
              </a:ext>
            </a:extLst>
          </p:cNvPr>
          <p:cNvSpPr txBox="1"/>
          <p:nvPr/>
        </p:nvSpPr>
        <p:spPr>
          <a:xfrm>
            <a:off x="8387255" y="1828800"/>
            <a:ext cx="2921521" cy="4068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Some considerations: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Marine spatial planning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Shipping routes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Harbour capacity for support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Manufacture and repair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Supply chain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Permitting process and policies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Tourism impacts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Capacity building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Financial flows and equitable 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  distribution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- Funders </a:t>
            </a:r>
          </a:p>
        </p:txBody>
      </p:sp>
    </p:spTree>
    <p:extLst>
      <p:ext uri="{BB962C8B-B14F-4D97-AF65-F5344CB8AC3E}">
        <p14:creationId xmlns:p14="http://schemas.microsoft.com/office/powerpoint/2010/main" val="33350129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538F066-2BA6-80CC-1981-EDCFC54EC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80975" marR="0" lvl="0" indent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</a:pPr>
            <a:r>
              <a:rPr lang="en-ZA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hat: the answers to these questions will be:</a:t>
            </a:r>
            <a:endParaRPr lang="en-ZA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0ABCADF-6DE0-0418-C3D1-833EA99A6883}"/>
              </a:ext>
            </a:extLst>
          </p:cNvPr>
          <p:cNvGrpSpPr/>
          <p:nvPr/>
        </p:nvGrpSpPr>
        <p:grpSpPr>
          <a:xfrm>
            <a:off x="6325750" y="1216512"/>
            <a:ext cx="2532101" cy="3481692"/>
            <a:chOff x="6314992" y="1216512"/>
            <a:chExt cx="2532101" cy="3481692"/>
          </a:xfrm>
        </p:grpSpPr>
        <p:sp>
          <p:nvSpPr>
            <p:cNvPr id="5" name="Google Shape;191;p37">
              <a:extLst>
                <a:ext uri="{FF2B5EF4-FFF2-40B4-BE49-F238E27FC236}">
                  <a16:creationId xmlns:a16="http://schemas.microsoft.com/office/drawing/2014/main" id="{0429BFFA-1A38-A94A-8BD4-A193DF044432}"/>
                </a:ext>
              </a:extLst>
            </p:cNvPr>
            <p:cNvSpPr/>
            <p:nvPr/>
          </p:nvSpPr>
          <p:spPr>
            <a:xfrm>
              <a:off x="6314992" y="1216512"/>
              <a:ext cx="2532101" cy="61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ZA" sz="2800" b="1" dirty="0">
                  <a:solidFill>
                    <a:srgbClr val="175A50"/>
                  </a:solidFill>
                  <a:latin typeface="Calibri"/>
                  <a:cs typeface="Calibri"/>
                  <a:sym typeface="Calibri"/>
                </a:rPr>
                <a:t>Systemic</a:t>
              </a:r>
              <a:endParaRPr sz="2800" dirty="0"/>
            </a:p>
          </p:txBody>
        </p:sp>
        <p:sp>
          <p:nvSpPr>
            <p:cNvPr id="6" name="Google Shape;192;p37">
              <a:extLst>
                <a:ext uri="{FF2B5EF4-FFF2-40B4-BE49-F238E27FC236}">
                  <a16:creationId xmlns:a16="http://schemas.microsoft.com/office/drawing/2014/main" id="{777E95EB-EC32-E265-C7D3-C5D334A52710}"/>
                </a:ext>
              </a:extLst>
            </p:cNvPr>
            <p:cNvSpPr/>
            <p:nvPr/>
          </p:nvSpPr>
          <p:spPr>
            <a:xfrm>
              <a:off x="6314992" y="2112623"/>
              <a:ext cx="2532101" cy="258558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ZA" sz="2000" b="1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Holistic</a:t>
              </a:r>
              <a:r>
                <a:rPr lang="en-ZA" sz="20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, integrating land and sea considerations, biodiversity and climate</a:t>
              </a:r>
              <a:endParaRPr sz="20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7D95377-7409-2051-3223-E23C08D37910}"/>
              </a:ext>
            </a:extLst>
          </p:cNvPr>
          <p:cNvGrpSpPr/>
          <p:nvPr/>
        </p:nvGrpSpPr>
        <p:grpSpPr>
          <a:xfrm>
            <a:off x="9277966" y="1216512"/>
            <a:ext cx="2570202" cy="2651237"/>
            <a:chOff x="9170386" y="1216512"/>
            <a:chExt cx="2570202" cy="2651237"/>
          </a:xfrm>
        </p:grpSpPr>
        <p:sp>
          <p:nvSpPr>
            <p:cNvPr id="8" name="Google Shape;194;p37">
              <a:extLst>
                <a:ext uri="{FF2B5EF4-FFF2-40B4-BE49-F238E27FC236}">
                  <a16:creationId xmlns:a16="http://schemas.microsoft.com/office/drawing/2014/main" id="{2B02146A-7EAD-02AC-8CCF-D0F966F99C34}"/>
                </a:ext>
              </a:extLst>
            </p:cNvPr>
            <p:cNvSpPr/>
            <p:nvPr/>
          </p:nvSpPr>
          <p:spPr>
            <a:xfrm>
              <a:off x="9170386" y="1216512"/>
              <a:ext cx="2532101" cy="61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ZA" sz="2800" b="1" i="0" u="none" strike="noStrike" cap="none" dirty="0">
                  <a:solidFill>
                    <a:srgbClr val="175A50"/>
                  </a:solidFill>
                  <a:latin typeface="Calibri"/>
                  <a:ea typeface="Calibri"/>
                  <a:cs typeface="Calibri"/>
                  <a:sym typeface="Calibri"/>
                </a:rPr>
                <a:t>Inclusive</a:t>
              </a:r>
              <a:endParaRPr sz="2800" dirty="0"/>
            </a:p>
          </p:txBody>
        </p:sp>
        <p:sp>
          <p:nvSpPr>
            <p:cNvPr id="9" name="Google Shape;195;p37">
              <a:extLst>
                <a:ext uri="{FF2B5EF4-FFF2-40B4-BE49-F238E27FC236}">
                  <a16:creationId xmlns:a16="http://schemas.microsoft.com/office/drawing/2014/main" id="{F2F08964-D70D-8B35-4D79-DE3817F5D595}"/>
                </a:ext>
              </a:extLst>
            </p:cNvPr>
            <p:cNvSpPr/>
            <p:nvPr/>
          </p:nvSpPr>
          <p:spPr>
            <a:xfrm>
              <a:off x="9208487" y="2161516"/>
              <a:ext cx="2532101" cy="17062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ZA" sz="2000" b="1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Include knowledge from the economic world, civil society and local</a:t>
              </a:r>
              <a:r>
                <a:rPr lang="en-ZA" sz="20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 and </a:t>
              </a:r>
              <a:r>
                <a:rPr lang="en-ZA" sz="2000" b="1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indigenous</a:t>
              </a:r>
              <a:r>
                <a:rPr lang="en-ZA" sz="20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ZA" sz="2000" b="1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communities </a:t>
              </a:r>
              <a:endParaRPr lang="en-GB" sz="2000" dirty="0">
                <a:solidFill>
                  <a:schemeClr val="lt1"/>
                </a:solidFill>
                <a:latin typeface="Calibri"/>
                <a:cs typeface="Calibri"/>
                <a:sym typeface="Calibri"/>
              </a:endParaRPr>
            </a:p>
          </p:txBody>
        </p:sp>
      </p:grpSp>
      <p:pic>
        <p:nvPicPr>
          <p:cNvPr id="13" name="Google Shape;199;p37" descr="A rocky shore with waves crashing on it&#10;&#10;Description automatically generated with medium confidence">
            <a:extLst>
              <a:ext uri="{FF2B5EF4-FFF2-40B4-BE49-F238E27FC236}">
                <a16:creationId xmlns:a16="http://schemas.microsoft.com/office/drawing/2014/main" id="{5CE4B0C8-FCB0-B34F-AE45-4E3EE9AC33A9}"/>
              </a:ext>
            </a:extLst>
          </p:cNvPr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76329" y="21936"/>
            <a:ext cx="1439342" cy="12192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FB93FFC-CE87-CE1A-83EB-58DBC9147B05}"/>
              </a:ext>
            </a:extLst>
          </p:cNvPr>
          <p:cNvGrpSpPr/>
          <p:nvPr/>
        </p:nvGrpSpPr>
        <p:grpSpPr>
          <a:xfrm>
            <a:off x="383217" y="1216512"/>
            <a:ext cx="2532101" cy="3481692"/>
            <a:chOff x="566103" y="1216512"/>
            <a:chExt cx="2532101" cy="3481692"/>
          </a:xfrm>
        </p:grpSpPr>
        <p:sp>
          <p:nvSpPr>
            <p:cNvPr id="10" name="Google Shape;191;p37">
              <a:extLst>
                <a:ext uri="{FF2B5EF4-FFF2-40B4-BE49-F238E27FC236}">
                  <a16:creationId xmlns:a16="http://schemas.microsoft.com/office/drawing/2014/main" id="{0F305CCE-1434-E9DC-3478-DEE6F5B67D07}"/>
                </a:ext>
              </a:extLst>
            </p:cNvPr>
            <p:cNvSpPr/>
            <p:nvPr/>
          </p:nvSpPr>
          <p:spPr>
            <a:xfrm>
              <a:off x="566103" y="1216512"/>
              <a:ext cx="2532101" cy="61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ZA" sz="2800" b="1" dirty="0">
                  <a:solidFill>
                    <a:srgbClr val="175A50"/>
                  </a:solidFill>
                  <a:latin typeface="Calibri"/>
                  <a:cs typeface="Calibri"/>
                  <a:sym typeface="Calibri"/>
                </a:rPr>
                <a:t>Robust</a:t>
              </a:r>
              <a:endParaRPr sz="2800" dirty="0"/>
            </a:p>
          </p:txBody>
        </p:sp>
        <p:sp>
          <p:nvSpPr>
            <p:cNvPr id="14" name="Google Shape;192;p37">
              <a:extLst>
                <a:ext uri="{FF2B5EF4-FFF2-40B4-BE49-F238E27FC236}">
                  <a16:creationId xmlns:a16="http://schemas.microsoft.com/office/drawing/2014/main" id="{0C88F5EF-B2FD-06A6-39E2-2EDBC8A410A4}"/>
                </a:ext>
              </a:extLst>
            </p:cNvPr>
            <p:cNvSpPr/>
            <p:nvPr/>
          </p:nvSpPr>
          <p:spPr>
            <a:xfrm>
              <a:off x="566103" y="2112623"/>
              <a:ext cx="2532101" cy="258558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2000" b="1" dirty="0" err="1">
                  <a:solidFill>
                    <a:schemeClr val="lt1"/>
                  </a:solidFill>
                  <a:latin typeface="Calibri"/>
                  <a:cs typeface="Calibri"/>
                  <a:sym typeface="Calibri"/>
                </a:rPr>
                <a:t>Undisputed</a:t>
              </a:r>
              <a:r>
                <a:rPr lang="fr-FR" sz="2000" b="1" dirty="0">
                  <a:solidFill>
                    <a:schemeClr val="lt1"/>
                  </a:solidFill>
                  <a:latin typeface="Calibri"/>
                  <a:cs typeface="Calibri"/>
                  <a:sym typeface="Calibri"/>
                </a:rPr>
                <a:t> in </a:t>
              </a:r>
              <a:r>
                <a:rPr lang="fr-FR" sz="2000" b="1" dirty="0" err="1">
                  <a:solidFill>
                    <a:schemeClr val="lt1"/>
                  </a:solidFill>
                  <a:latin typeface="Calibri"/>
                  <a:cs typeface="Calibri"/>
                  <a:sym typeface="Calibri"/>
                </a:rPr>
                <a:t>terms</a:t>
              </a:r>
              <a:r>
                <a:rPr lang="fr-FR" sz="2000" b="1" dirty="0">
                  <a:solidFill>
                    <a:schemeClr val="lt1"/>
                  </a:solidFill>
                  <a:latin typeface="Calibri"/>
                  <a:cs typeface="Calibri"/>
                  <a:sym typeface="Calibri"/>
                </a:rPr>
                <a:t> of science</a:t>
              </a:r>
              <a:endParaRPr lang="fr-FR" sz="2000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AA4236C-5011-FA0A-7532-6350D0FF6310}"/>
              </a:ext>
            </a:extLst>
          </p:cNvPr>
          <p:cNvGrpSpPr/>
          <p:nvPr/>
        </p:nvGrpSpPr>
        <p:grpSpPr>
          <a:xfrm>
            <a:off x="3335433" y="1216512"/>
            <a:ext cx="2570202" cy="2651237"/>
            <a:chOff x="3421497" y="1216512"/>
            <a:chExt cx="2570202" cy="2651237"/>
          </a:xfrm>
        </p:grpSpPr>
        <p:sp>
          <p:nvSpPr>
            <p:cNvPr id="16" name="Google Shape;194;p37">
              <a:extLst>
                <a:ext uri="{FF2B5EF4-FFF2-40B4-BE49-F238E27FC236}">
                  <a16:creationId xmlns:a16="http://schemas.microsoft.com/office/drawing/2014/main" id="{2F43EDD8-786E-A9E1-2C6A-D8823A439399}"/>
                </a:ext>
              </a:extLst>
            </p:cNvPr>
            <p:cNvSpPr/>
            <p:nvPr/>
          </p:nvSpPr>
          <p:spPr>
            <a:xfrm>
              <a:off x="3421497" y="1216512"/>
              <a:ext cx="2532101" cy="61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ZA" sz="2800" b="1" dirty="0">
                  <a:solidFill>
                    <a:srgbClr val="175A50"/>
                  </a:solidFill>
                  <a:latin typeface="Calibri"/>
                  <a:cs typeface="Calibri"/>
                  <a:sym typeface="Calibri"/>
                </a:rPr>
                <a:t>Relevant</a:t>
              </a:r>
              <a:endParaRPr lang="en-ZA" sz="2800" dirty="0"/>
            </a:p>
          </p:txBody>
        </p:sp>
        <p:sp>
          <p:nvSpPr>
            <p:cNvPr id="17" name="Google Shape;195;p37">
              <a:extLst>
                <a:ext uri="{FF2B5EF4-FFF2-40B4-BE49-F238E27FC236}">
                  <a16:creationId xmlns:a16="http://schemas.microsoft.com/office/drawing/2014/main" id="{C51D90D5-D8FD-FC62-E953-F565E765B7AE}"/>
                </a:ext>
              </a:extLst>
            </p:cNvPr>
            <p:cNvSpPr/>
            <p:nvPr/>
          </p:nvSpPr>
          <p:spPr>
            <a:xfrm>
              <a:off x="3459598" y="2161516"/>
              <a:ext cx="2532101" cy="17062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2000" b="1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Geographically relevant </a:t>
              </a: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GB" sz="20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2000" b="1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Ready-to-use</a:t>
              </a:r>
              <a:r>
                <a:rPr lang="en-GB" sz="20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 documents and tools</a:t>
              </a: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GB" sz="20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2000" b="1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Timely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29913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34"/>
          <p:cNvSpPr txBox="1">
            <a:spLocks noGrp="1"/>
          </p:cNvSpPr>
          <p:nvPr>
            <p:ph type="title"/>
          </p:nvPr>
        </p:nvSpPr>
        <p:spPr>
          <a:xfrm>
            <a:off x="215756" y="117501"/>
            <a:ext cx="11219381" cy="596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r>
              <a:rPr lang="en-ZA" dirty="0"/>
              <a:t>How? </a:t>
            </a:r>
            <a:endParaRPr dirty="0"/>
          </a:p>
        </p:txBody>
      </p:sp>
      <p:cxnSp>
        <p:nvCxnSpPr>
          <p:cNvPr id="181" name="Google Shape;181;p34"/>
          <p:cNvCxnSpPr/>
          <p:nvPr/>
        </p:nvCxnSpPr>
        <p:spPr>
          <a:xfrm>
            <a:off x="8130746" y="1791730"/>
            <a:ext cx="0" cy="4658497"/>
          </a:xfrm>
          <a:prstGeom prst="straightConnector1">
            <a:avLst/>
          </a:prstGeom>
          <a:noFill/>
          <a:ln w="9525" cap="flat" cmpd="sng">
            <a:solidFill>
              <a:srgbClr val="00424B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82" name="Google Shape;182;p34"/>
          <p:cNvCxnSpPr/>
          <p:nvPr/>
        </p:nvCxnSpPr>
        <p:spPr>
          <a:xfrm>
            <a:off x="4061254" y="1791730"/>
            <a:ext cx="0" cy="4658497"/>
          </a:xfrm>
          <a:prstGeom prst="straightConnector1">
            <a:avLst/>
          </a:prstGeom>
          <a:noFill/>
          <a:ln w="9525" cap="flat" cmpd="sng">
            <a:solidFill>
              <a:srgbClr val="00424B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3" name="Google Shape;183;p34"/>
          <p:cNvSpPr txBox="1"/>
          <p:nvPr/>
        </p:nvSpPr>
        <p:spPr>
          <a:xfrm>
            <a:off x="249794" y="1526136"/>
            <a:ext cx="355342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ZA" sz="2400" b="1" i="0" u="none" strike="noStrike" cap="none">
                <a:solidFill>
                  <a:schemeClr val="lt1"/>
                </a:solidFill>
                <a:highlight>
                  <a:srgbClr val="01434C"/>
                </a:highlight>
                <a:latin typeface="Calibri"/>
                <a:ea typeface="Calibri"/>
                <a:cs typeface="Calibri"/>
                <a:sym typeface="Calibri"/>
              </a:rPr>
              <a:t>Political support</a:t>
            </a:r>
            <a:endParaRPr/>
          </a:p>
        </p:txBody>
      </p:sp>
      <p:grpSp>
        <p:nvGrpSpPr>
          <p:cNvPr id="184" name="Google Shape;184;p34"/>
          <p:cNvGrpSpPr/>
          <p:nvPr/>
        </p:nvGrpSpPr>
        <p:grpSpPr>
          <a:xfrm>
            <a:off x="1840147" y="2432161"/>
            <a:ext cx="1526618" cy="1223476"/>
            <a:chOff x="5501985" y="2069691"/>
            <a:chExt cx="1968757" cy="1577819"/>
          </a:xfrm>
        </p:grpSpPr>
        <p:pic>
          <p:nvPicPr>
            <p:cNvPr id="185" name="Google Shape;185;p3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920870" y="2069691"/>
              <a:ext cx="1167811" cy="80971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86" name="Google Shape;186;p34"/>
            <p:cNvSpPr txBox="1"/>
            <p:nvPr/>
          </p:nvSpPr>
          <p:spPr>
            <a:xfrm>
              <a:off x="5501985" y="3091881"/>
              <a:ext cx="1968757" cy="5556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n-ZA" sz="1050" b="0" i="0" u="none" strike="noStrike" cap="none">
                  <a:solidFill>
                    <a:srgbClr val="01434C"/>
                  </a:solidFill>
                  <a:latin typeface="Calibri"/>
                  <a:ea typeface="Calibri"/>
                  <a:cs typeface="Calibri"/>
                  <a:sym typeface="Calibri"/>
                </a:rPr>
                <a:t>European </a:t>
              </a:r>
              <a:endParaRPr/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n-ZA" sz="1050" b="0" i="0" u="none" strike="noStrike" cap="none">
                  <a:solidFill>
                    <a:srgbClr val="01434C"/>
                  </a:solidFill>
                  <a:latin typeface="Calibri"/>
                  <a:ea typeface="Calibri"/>
                  <a:cs typeface="Calibri"/>
                  <a:sym typeface="Calibri"/>
                </a:rPr>
                <a:t>Commission</a:t>
              </a:r>
              <a:endParaRPr sz="1050" b="0" i="0" u="none" strike="noStrike" cap="none">
                <a:solidFill>
                  <a:srgbClr val="01434C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87" name="Google Shape;187;p34"/>
          <p:cNvGrpSpPr/>
          <p:nvPr/>
        </p:nvGrpSpPr>
        <p:grpSpPr>
          <a:xfrm>
            <a:off x="714373" y="2301041"/>
            <a:ext cx="1003773" cy="1148317"/>
            <a:chOff x="2962755" y="4195637"/>
            <a:chExt cx="1294485" cy="1480893"/>
          </a:xfrm>
        </p:grpSpPr>
        <p:pic>
          <p:nvPicPr>
            <p:cNvPr id="188" name="Google Shape;188;p3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089429" y="4195637"/>
              <a:ext cx="1167811" cy="105399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89" name="Google Shape;189;p34"/>
            <p:cNvSpPr txBox="1"/>
            <p:nvPr/>
          </p:nvSpPr>
          <p:spPr>
            <a:xfrm>
              <a:off x="2962755" y="5339204"/>
              <a:ext cx="1070051" cy="33732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n-ZA" sz="1050" b="0" i="0" u="none" strike="noStrike" cap="none" dirty="0">
                  <a:solidFill>
                    <a:srgbClr val="01434C"/>
                  </a:solidFill>
                  <a:latin typeface="Calibri"/>
                  <a:ea typeface="Calibri"/>
                  <a:cs typeface="Calibri"/>
                  <a:sym typeface="Calibri"/>
                </a:rPr>
                <a:t>France</a:t>
              </a:r>
              <a:endParaRPr sz="1050" b="0" i="0" u="none" strike="noStrike" cap="none" dirty="0">
                <a:solidFill>
                  <a:srgbClr val="01434C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96" name="Google Shape;196;p34"/>
          <p:cNvSpPr txBox="1"/>
          <p:nvPr/>
        </p:nvSpPr>
        <p:spPr>
          <a:xfrm>
            <a:off x="400772" y="4799068"/>
            <a:ext cx="3811460" cy="203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ZA" b="1" dirty="0">
                <a:latin typeface="Calibri"/>
                <a:ea typeface="Calibri"/>
                <a:cs typeface="Calibri"/>
                <a:sym typeface="Calibri"/>
              </a:rPr>
              <a:t>Dialogues with </a:t>
            </a:r>
            <a:r>
              <a:rPr lang="en-ZA" sz="1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ZA" sz="1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acific</a:t>
            </a:r>
            <a:r>
              <a:rPr lang="en-ZA" sz="1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Ocean Commissioner</a:t>
            </a: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ZA" sz="1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alau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ZA" sz="1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ZA" b="1" dirty="0">
                <a:latin typeface="Calibri"/>
                <a:cs typeface="Calibri"/>
                <a:sym typeface="Calibri"/>
              </a:rPr>
              <a:t>South Africa 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ZA" b="1" dirty="0">
                <a:latin typeface="Calibri"/>
                <a:cs typeface="Calibri"/>
                <a:sym typeface="Calibri"/>
              </a:rPr>
              <a:t>USA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ZA" b="1" dirty="0">
                <a:latin typeface="Calibri"/>
                <a:cs typeface="Calibri"/>
                <a:sym typeface="Calibri"/>
              </a:rPr>
              <a:t>Canada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ZA" b="1" dirty="0">
                <a:latin typeface="Calibri"/>
                <a:cs typeface="Calibri"/>
                <a:sym typeface="Calibri"/>
              </a:rPr>
              <a:t>Brazil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ZA" b="1" dirty="0">
                <a:latin typeface="Calibri"/>
                <a:cs typeface="Calibri"/>
                <a:sym typeface="Calibri"/>
              </a:rPr>
              <a:t>Monaco</a:t>
            </a:r>
            <a:endParaRPr b="1" dirty="0"/>
          </a:p>
        </p:txBody>
      </p:sp>
      <p:sp>
        <p:nvSpPr>
          <p:cNvPr id="197" name="Google Shape;197;p34"/>
          <p:cNvSpPr txBox="1"/>
          <p:nvPr/>
        </p:nvSpPr>
        <p:spPr>
          <a:xfrm>
            <a:off x="4339881" y="1526136"/>
            <a:ext cx="355342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ZA" sz="2400" b="1" i="0" u="none" strike="noStrike" cap="none">
                <a:solidFill>
                  <a:schemeClr val="lt1"/>
                </a:solidFill>
                <a:highlight>
                  <a:srgbClr val="01434C"/>
                </a:highlight>
                <a:latin typeface="Calibri"/>
                <a:ea typeface="Calibri"/>
                <a:cs typeface="Calibri"/>
                <a:sym typeface="Calibri"/>
              </a:rPr>
              <a:t>Scientific support</a:t>
            </a:r>
            <a:endParaRPr/>
          </a:p>
        </p:txBody>
      </p:sp>
      <p:sp>
        <p:nvSpPr>
          <p:cNvPr id="198" name="Google Shape;198;p34"/>
          <p:cNvSpPr txBox="1"/>
          <p:nvPr/>
        </p:nvSpPr>
        <p:spPr>
          <a:xfrm>
            <a:off x="8541178" y="1526136"/>
            <a:ext cx="355342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ZA" sz="2400" b="1" i="0" u="none" strike="noStrike" cap="none">
                <a:solidFill>
                  <a:schemeClr val="lt1"/>
                </a:solidFill>
                <a:highlight>
                  <a:srgbClr val="01434C"/>
                </a:highlight>
                <a:latin typeface="Calibri"/>
                <a:ea typeface="Calibri"/>
                <a:cs typeface="Calibri"/>
                <a:sym typeface="Calibri"/>
              </a:rPr>
              <a:t>Other organisations</a:t>
            </a:r>
            <a:endParaRPr/>
          </a:p>
        </p:txBody>
      </p:sp>
      <p:grpSp>
        <p:nvGrpSpPr>
          <p:cNvPr id="199" name="Google Shape;199;p34"/>
          <p:cNvGrpSpPr/>
          <p:nvPr/>
        </p:nvGrpSpPr>
        <p:grpSpPr>
          <a:xfrm>
            <a:off x="4311801" y="3401924"/>
            <a:ext cx="3185008" cy="522901"/>
            <a:chOff x="4311801" y="3497639"/>
            <a:chExt cx="3185008" cy="522901"/>
          </a:xfrm>
        </p:grpSpPr>
        <p:pic>
          <p:nvPicPr>
            <p:cNvPr id="200" name="Google Shape;200;p3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311801" y="3604967"/>
              <a:ext cx="840862" cy="30824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1" name="Google Shape;201;p3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608839" y="3497639"/>
              <a:ext cx="448201" cy="52290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2" name="Google Shape;202;p34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6657884" y="3517166"/>
              <a:ext cx="838925" cy="48384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03" name="Google Shape;203;p34"/>
          <p:cNvGrpSpPr/>
          <p:nvPr/>
        </p:nvGrpSpPr>
        <p:grpSpPr>
          <a:xfrm>
            <a:off x="4491100" y="2817527"/>
            <a:ext cx="3225424" cy="426164"/>
            <a:chOff x="4491100" y="2863587"/>
            <a:chExt cx="3225424" cy="426164"/>
          </a:xfrm>
        </p:grpSpPr>
        <p:pic>
          <p:nvPicPr>
            <p:cNvPr id="204" name="Google Shape;204;p34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5315153" y="2885267"/>
              <a:ext cx="1001476" cy="3828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5" name="Google Shape;205;p34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6714518" y="2868706"/>
              <a:ext cx="1002006" cy="41592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6" name="Google Shape;206;p34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4491100" y="2863587"/>
              <a:ext cx="426164" cy="42616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07" name="Google Shape;207;p34"/>
          <p:cNvGrpSpPr/>
          <p:nvPr/>
        </p:nvGrpSpPr>
        <p:grpSpPr>
          <a:xfrm>
            <a:off x="4319286" y="2136393"/>
            <a:ext cx="3567435" cy="522901"/>
            <a:chOff x="4319286" y="2136393"/>
            <a:chExt cx="3567435" cy="522901"/>
          </a:xfrm>
        </p:grpSpPr>
        <p:pic>
          <p:nvPicPr>
            <p:cNvPr id="208" name="Google Shape;208;p34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7363820" y="2136393"/>
              <a:ext cx="522901" cy="52290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9" name="Google Shape;209;p34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6002280" y="2155820"/>
              <a:ext cx="1001476" cy="48404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0" name="Google Shape;210;p34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4319286" y="2151532"/>
              <a:ext cx="1616043" cy="49262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1" name="Google Shape;211;p34"/>
          <p:cNvGrpSpPr/>
          <p:nvPr/>
        </p:nvGrpSpPr>
        <p:grpSpPr>
          <a:xfrm>
            <a:off x="4973148" y="5368942"/>
            <a:ext cx="2343142" cy="483846"/>
            <a:chOff x="4710664" y="5564887"/>
            <a:chExt cx="2343142" cy="483846"/>
          </a:xfrm>
        </p:grpSpPr>
        <p:pic>
          <p:nvPicPr>
            <p:cNvPr id="212" name="Google Shape;212;p34"/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>
              <a:off x="6150915" y="5564887"/>
              <a:ext cx="902891" cy="4838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3" name="Google Shape;213;p34"/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4710664" y="5569493"/>
              <a:ext cx="949268" cy="47463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4" name="Google Shape;214;p34"/>
          <p:cNvGrpSpPr/>
          <p:nvPr/>
        </p:nvGrpSpPr>
        <p:grpSpPr>
          <a:xfrm>
            <a:off x="4238080" y="4742555"/>
            <a:ext cx="3428886" cy="468153"/>
            <a:chOff x="4238080" y="4918339"/>
            <a:chExt cx="3428886" cy="468153"/>
          </a:xfrm>
        </p:grpSpPr>
        <p:pic>
          <p:nvPicPr>
            <p:cNvPr id="215" name="Google Shape;215;p34"/>
            <p:cNvPicPr preferRelativeResize="0"/>
            <p:nvPr/>
          </p:nvPicPr>
          <p:blipFill rotWithShape="1">
            <a:blip r:embed="rId16">
              <a:alphaModFix/>
            </a:blip>
            <a:srcRect/>
            <a:stretch/>
          </p:blipFill>
          <p:spPr>
            <a:xfrm>
              <a:off x="4238080" y="4918339"/>
              <a:ext cx="1126741" cy="4681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6" name="Google Shape;216;p34"/>
            <p:cNvPicPr preferRelativeResize="0"/>
            <p:nvPr/>
          </p:nvPicPr>
          <p:blipFill rotWithShape="1">
            <a:blip r:embed="rId17">
              <a:alphaModFix/>
            </a:blip>
            <a:srcRect/>
            <a:stretch/>
          </p:blipFill>
          <p:spPr>
            <a:xfrm>
              <a:off x="6764075" y="4989445"/>
              <a:ext cx="902891" cy="3259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7" name="Google Shape;217;p34"/>
            <p:cNvPicPr preferRelativeResize="0"/>
            <p:nvPr/>
          </p:nvPicPr>
          <p:blipFill rotWithShape="1">
            <a:blip r:embed="rId18">
              <a:alphaModFix/>
            </a:blip>
            <a:srcRect/>
            <a:stretch/>
          </p:blipFill>
          <p:spPr>
            <a:xfrm>
              <a:off x="5667340" y="4953861"/>
              <a:ext cx="794216" cy="39710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8" name="Google Shape;218;p34"/>
          <p:cNvGrpSpPr/>
          <p:nvPr/>
        </p:nvGrpSpPr>
        <p:grpSpPr>
          <a:xfrm>
            <a:off x="4592911" y="4083058"/>
            <a:ext cx="3415422" cy="501264"/>
            <a:chOff x="4592911" y="4171983"/>
            <a:chExt cx="3415422" cy="501264"/>
          </a:xfrm>
        </p:grpSpPr>
        <p:pic>
          <p:nvPicPr>
            <p:cNvPr id="219" name="Google Shape;219;p34"/>
            <p:cNvPicPr preferRelativeResize="0"/>
            <p:nvPr/>
          </p:nvPicPr>
          <p:blipFill rotWithShape="1">
            <a:blip r:embed="rId19">
              <a:alphaModFix/>
            </a:blip>
            <a:srcRect/>
            <a:stretch/>
          </p:blipFill>
          <p:spPr>
            <a:xfrm>
              <a:off x="4592911" y="4171983"/>
              <a:ext cx="522901" cy="50126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0" name="Google Shape;220;p34"/>
            <p:cNvPicPr preferRelativeResize="0"/>
            <p:nvPr/>
          </p:nvPicPr>
          <p:blipFill rotWithShape="1">
            <a:blip r:embed="rId20">
              <a:alphaModFix/>
            </a:blip>
            <a:srcRect t="24653" b="25652"/>
            <a:stretch/>
          </p:blipFill>
          <p:spPr>
            <a:xfrm>
              <a:off x="5591214" y="4240717"/>
              <a:ext cx="732065" cy="36379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1" name="Google Shape;221;p34"/>
            <p:cNvPicPr preferRelativeResize="0"/>
            <p:nvPr/>
          </p:nvPicPr>
          <p:blipFill rotWithShape="1">
            <a:blip r:embed="rId21">
              <a:alphaModFix/>
            </a:blip>
            <a:srcRect t="233" r="220"/>
            <a:stretch/>
          </p:blipFill>
          <p:spPr>
            <a:xfrm>
              <a:off x="6798680" y="4209868"/>
              <a:ext cx="1209653" cy="42549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22" name="Google Shape;222;p34"/>
          <p:cNvSpPr txBox="1"/>
          <p:nvPr/>
        </p:nvSpPr>
        <p:spPr>
          <a:xfrm>
            <a:off x="4151310" y="6167512"/>
            <a:ext cx="38114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ZA"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arget = 40 institutions by June 2024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3" name="Google Shape;223;p34" descr="Identidad e imagen corporativa - Institut de Ciència i ...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8907245" y="2379223"/>
            <a:ext cx="2044401" cy="425313"/>
          </a:xfrm>
          <a:prstGeom prst="rect">
            <a:avLst/>
          </a:prstGeom>
          <a:noFill/>
          <a:ln>
            <a:noFill/>
          </a:ln>
        </p:spPr>
      </p:pic>
      <p:pic>
        <p:nvPicPr>
          <p:cNvPr id="224" name="Google Shape;224;p34" descr="Discover our experts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8764684" y="3046056"/>
            <a:ext cx="1307356" cy="440381"/>
          </a:xfrm>
          <a:prstGeom prst="rect">
            <a:avLst/>
          </a:prstGeom>
          <a:noFill/>
          <a:ln>
            <a:noFill/>
          </a:ln>
        </p:spPr>
      </p:pic>
      <p:pic>
        <p:nvPicPr>
          <p:cNvPr id="225" name="Google Shape;225;p34" descr="oecd-logo -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10145064" y="2887288"/>
            <a:ext cx="1052156" cy="701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226" name="Google Shape;226;p34" descr="Wildlife-film .com Profile Page - Sea Change Project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9991785" y="5829176"/>
            <a:ext cx="1205435" cy="646113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Google Shape;227;p34"/>
          <p:cNvSpPr txBox="1"/>
          <p:nvPr/>
        </p:nvSpPr>
        <p:spPr>
          <a:xfrm>
            <a:off x="8298723" y="6013623"/>
            <a:ext cx="140570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ZA"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Communication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8" name="Google Shape;228;p34"/>
          <p:cNvSpPr txBox="1"/>
          <p:nvPr/>
        </p:nvSpPr>
        <p:spPr>
          <a:xfrm>
            <a:off x="8298723" y="4546132"/>
            <a:ext cx="140570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ZA"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Youth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9" name="Google Shape;229;p34" descr="Global Youth Biodiversity Network - Conservation Optimism"/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9022320" y="4476012"/>
            <a:ext cx="1292226" cy="646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230" name="Google Shape;230;p34" descr="ECOP Programme – Early Career Ocean Professionals"/>
          <p:cNvPicPr preferRelativeResize="0"/>
          <p:nvPr/>
        </p:nvPicPr>
        <p:blipFill rotWithShape="1">
          <a:blip r:embed="rId27">
            <a:alphaModFix/>
          </a:blip>
          <a:srcRect/>
          <a:stretch/>
        </p:blipFill>
        <p:spPr>
          <a:xfrm>
            <a:off x="10314546" y="4336505"/>
            <a:ext cx="1860776" cy="904221"/>
          </a:xfrm>
          <a:prstGeom prst="rect">
            <a:avLst/>
          </a:prstGeom>
          <a:noFill/>
          <a:ln>
            <a:noFill/>
          </a:ln>
        </p:spPr>
      </p:pic>
      <p:pic>
        <p:nvPicPr>
          <p:cNvPr id="231" name="Google Shape;231;p34" descr="Youth4Ocean Forum | LinkedIn"/>
          <p:cNvPicPr preferRelativeResize="0"/>
          <p:nvPr/>
        </p:nvPicPr>
        <p:blipFill rotWithShape="1">
          <a:blip r:embed="rId28">
            <a:alphaModFix/>
          </a:blip>
          <a:srcRect t="18930" b="17246"/>
          <a:stretch/>
        </p:blipFill>
        <p:spPr>
          <a:xfrm>
            <a:off x="9872405" y="4984897"/>
            <a:ext cx="904441" cy="5772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Picture 2" descr="Emblème de la république populaire de Chine — Wikipédia">
            <a:extLst>
              <a:ext uri="{FF2B5EF4-FFF2-40B4-BE49-F238E27FC236}">
                <a16:creationId xmlns:a16="http://schemas.microsoft.com/office/drawing/2014/main" id="{94BC32B9-5792-D948-816F-C4F7B63B16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390" y="3749812"/>
            <a:ext cx="538601" cy="583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F250DDC-03E2-E148-80BA-FAF405CABF31}"/>
              </a:ext>
            </a:extLst>
          </p:cNvPr>
          <p:cNvSpPr txBox="1"/>
          <p:nvPr/>
        </p:nvSpPr>
        <p:spPr>
          <a:xfrm>
            <a:off x="786316" y="4434976"/>
            <a:ext cx="52000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5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ina</a:t>
            </a:r>
          </a:p>
        </p:txBody>
      </p:sp>
    </p:spTree>
    <p:extLst>
      <p:ext uri="{BB962C8B-B14F-4D97-AF65-F5344CB8AC3E}">
        <p14:creationId xmlns:p14="http://schemas.microsoft.com/office/powerpoint/2010/main" val="7989367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DCF1C551-1DE2-D2F5-B9EB-106574DCD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F1C551-1DE2-D2F5-B9EB-106574DCD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B100375-15F6-B9EA-D213-BC44AD341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What next</a:t>
            </a:r>
            <a:r>
              <a:rPr lang="en-GB" dirty="0"/>
              <a:t> talks on the road to UNOC-3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167FF-A27B-6B00-AB44-B2093D1CDBED}"/>
              </a:ext>
            </a:extLst>
          </p:cNvPr>
          <p:cNvSpPr/>
          <p:nvPr/>
        </p:nvSpPr>
        <p:spPr>
          <a:xfrm>
            <a:off x="5629332" y="960699"/>
            <a:ext cx="6256964" cy="52751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616DC0-E170-621D-43E4-4DB2A59333FB}"/>
              </a:ext>
            </a:extLst>
          </p:cNvPr>
          <p:cNvSpPr txBox="1"/>
          <p:nvPr/>
        </p:nvSpPr>
        <p:spPr>
          <a:xfrm>
            <a:off x="14060556" y="-212035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8471B1B-7943-0FC3-96A0-374455A1DC2B}"/>
              </a:ext>
            </a:extLst>
          </p:cNvPr>
          <p:cNvSpPr txBox="1"/>
          <p:nvPr/>
        </p:nvSpPr>
        <p:spPr>
          <a:xfrm>
            <a:off x="5764192" y="2028598"/>
            <a:ext cx="6149389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 is to present the concept of the IPOS at UNOC-3, with a clear vision of:</a:t>
            </a:r>
          </a:p>
          <a:p>
            <a:endParaRPr lang="en-GB" sz="24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the IPOS will b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it will work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will be its governanc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it will be funded </a:t>
            </a:r>
            <a:endParaRPr lang="en-US" sz="24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76" name="Picture 4" descr="Let's Be Nice to the Ocean” : une initiative du Varda Group lancée en amont  de la prochaine Conférence des Nations Unies pour l'Océan - Plateforme  Océan &amp; Climat">
            <a:extLst>
              <a:ext uri="{FF2B5EF4-FFF2-40B4-BE49-F238E27FC236}">
                <a16:creationId xmlns:a16="http://schemas.microsoft.com/office/drawing/2014/main" id="{F9ECDBB2-09E7-BA95-E364-15A3D2B663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190"/>
          <a:stretch/>
        </p:blipFill>
        <p:spPr bwMode="auto">
          <a:xfrm>
            <a:off x="320005" y="960699"/>
            <a:ext cx="5309327" cy="2293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Nice | Carte d'identité | Routard.com">
            <a:extLst>
              <a:ext uri="{FF2B5EF4-FFF2-40B4-BE49-F238E27FC236}">
                <a16:creationId xmlns:a16="http://schemas.microsoft.com/office/drawing/2014/main" id="{0FC43922-4EA8-FF8E-D312-D3B3A648F7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704" y="3254686"/>
            <a:ext cx="5296343" cy="2981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02D32726-DD91-279A-D7CF-D0B26F326B99}"/>
              </a:ext>
            </a:extLst>
          </p:cNvPr>
          <p:cNvSpPr txBox="1"/>
          <p:nvPr/>
        </p:nvSpPr>
        <p:spPr>
          <a:xfrm>
            <a:off x="1263971" y="3321345"/>
            <a:ext cx="33798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Nice, France, June 2025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1996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II">
      <a:dk1>
        <a:srgbClr val="000000"/>
      </a:dk1>
      <a:lt1>
        <a:srgbClr val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</TotalTime>
  <Words>539</Words>
  <Application>Microsoft Office PowerPoint</Application>
  <PresentationFormat>Widescreen</PresentationFormat>
  <Paragraphs>116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Calibri</vt:lpstr>
      <vt:lpstr>Helvetica Neue</vt:lpstr>
      <vt:lpstr>Verdana</vt:lpstr>
      <vt:lpstr>Arial</vt:lpstr>
      <vt:lpstr>Office Theme</vt:lpstr>
      <vt:lpstr>Diapositive think-cell</vt:lpstr>
      <vt:lpstr>International Panel for Ocean Sustainability </vt:lpstr>
      <vt:lpstr>5 Key Questions</vt:lpstr>
      <vt:lpstr>Why an IPOS</vt:lpstr>
      <vt:lpstr>For Whom</vt:lpstr>
      <vt:lpstr>What - 3 main services considered to date for the IPOS</vt:lpstr>
      <vt:lpstr>Example of an Ocean Action Request: Northern Cape</vt:lpstr>
      <vt:lpstr>What: the answers to these questions will be:</vt:lpstr>
      <vt:lpstr>How? </vt:lpstr>
      <vt:lpstr>What next talks on the road to UNOC-3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tional Panel for Ocean Sustainability</dc:title>
  <dc:creator>Adrien Vincent</dc:creator>
  <cp:lastModifiedBy>Letlhogonolo Setlhabi</cp:lastModifiedBy>
  <cp:revision>9</cp:revision>
  <dcterms:created xsi:type="dcterms:W3CDTF">2018-09-26T08:56:37Z</dcterms:created>
  <dcterms:modified xsi:type="dcterms:W3CDTF">2024-10-16T07:4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4B1526B537C448B8D6C98B5DA02A59</vt:lpwstr>
  </property>
</Properties>
</file>